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  <p:sldMasterId id="2147483754" r:id="rId5"/>
  </p:sldMasterIdLst>
  <p:notesMasterIdLst>
    <p:notesMasterId r:id="rId7"/>
  </p:notesMasterIdLst>
  <p:sldIdLst>
    <p:sldId id="277" r:id="rId6"/>
  </p:sldIdLst>
  <p:sldSz cx="10691813" cy="7559675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3367" userDrawn="1">
          <p15:clr>
            <a:srgbClr val="A4A3A4"/>
          </p15:clr>
        </p15:guide>
        <p15:guide id="3" orient="horz" pos="4109" userDrawn="1">
          <p15:clr>
            <a:srgbClr val="A4A3A4"/>
          </p15:clr>
        </p15:guide>
        <p15:guide id="4" orient="horz" pos="436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2D97D5-EA99-6749-E664-10E0BFDAD51E}" name="Marikit Klein-Smith" initials="MK" userId="S::marikit.kleinsmith@ey.com::eade0072-422b-4564-8854-a62116e5611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C4CD"/>
    <a:srgbClr val="747480"/>
    <a:srgbClr val="2E2E38"/>
    <a:srgbClr val="FFE600"/>
    <a:srgbClr val="2D2E39"/>
    <a:srgbClr val="FAE80B"/>
    <a:srgbClr val="F6F6FA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5736AE-2B4D-4B7E-B896-ADD3D6B2BA35}" v="2" dt="2025-02-14T12:00:03.6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48" autoAdjust="0"/>
    <p:restoredTop sz="94660"/>
  </p:normalViewPr>
  <p:slideViewPr>
    <p:cSldViewPr snapToGrid="0">
      <p:cViewPr varScale="1">
        <p:scale>
          <a:sx n="54" d="100"/>
          <a:sy n="54" d="100"/>
        </p:scale>
        <p:origin x="1052" y="60"/>
      </p:cViewPr>
      <p:guideLst>
        <p:guide orient="horz" pos="2381"/>
        <p:guide pos="3367"/>
        <p:guide orient="horz" pos="4109"/>
        <p:guide orient="horz" pos="43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Biel" userId="ee1a03a6-ae04-44d1-b823-d97f549c10ae" providerId="ADAL" clId="{365736AE-2B4D-4B7E-B896-ADD3D6B2BA35}"/>
    <pc:docChg chg="custSel modSld">
      <pc:chgData name="Anna Biel" userId="ee1a03a6-ae04-44d1-b823-d97f549c10ae" providerId="ADAL" clId="{365736AE-2B4D-4B7E-B896-ADD3D6B2BA35}" dt="2025-02-14T12:00:08.415" v="13" actId="1076"/>
      <pc:docMkLst>
        <pc:docMk/>
      </pc:docMkLst>
      <pc:sldChg chg="addSp modSp mod">
        <pc:chgData name="Anna Biel" userId="ee1a03a6-ae04-44d1-b823-d97f549c10ae" providerId="ADAL" clId="{365736AE-2B4D-4B7E-B896-ADD3D6B2BA35}" dt="2025-02-14T12:00:08.415" v="13" actId="1076"/>
        <pc:sldMkLst>
          <pc:docMk/>
          <pc:sldMk cId="1402642887" sldId="277"/>
        </pc:sldMkLst>
        <pc:spChg chg="mod">
          <ac:chgData name="Anna Biel" userId="ee1a03a6-ae04-44d1-b823-d97f549c10ae" providerId="ADAL" clId="{365736AE-2B4D-4B7E-B896-ADD3D6B2BA35}" dt="2025-02-14T10:27:18.047" v="4" actId="1036"/>
          <ac:spMkLst>
            <pc:docMk/>
            <pc:sldMk cId="1402642887" sldId="277"/>
            <ac:spMk id="4" creationId="{6A93213F-C442-1A07-2609-EF42D2616734}"/>
          </ac:spMkLst>
        </pc:spChg>
        <pc:spChg chg="mod">
          <ac:chgData name="Anna Biel" userId="ee1a03a6-ae04-44d1-b823-d97f549c10ae" providerId="ADAL" clId="{365736AE-2B4D-4B7E-B896-ADD3D6B2BA35}" dt="2025-02-14T10:27:18.047" v="4" actId="1036"/>
          <ac:spMkLst>
            <pc:docMk/>
            <pc:sldMk cId="1402642887" sldId="277"/>
            <ac:spMk id="11" creationId="{71978308-D202-DBC5-98CF-8C8B570442F8}"/>
          </ac:spMkLst>
        </pc:spChg>
        <pc:picChg chg="add mod">
          <ac:chgData name="Anna Biel" userId="ee1a03a6-ae04-44d1-b823-d97f549c10ae" providerId="ADAL" clId="{365736AE-2B4D-4B7E-B896-ADD3D6B2BA35}" dt="2025-02-14T10:27:59.459" v="7" actId="1076"/>
          <ac:picMkLst>
            <pc:docMk/>
            <pc:sldMk cId="1402642887" sldId="277"/>
            <ac:picMk id="3" creationId="{F607639F-3825-179F-7E24-46908538CB9E}"/>
          </ac:picMkLst>
        </pc:picChg>
        <pc:picChg chg="add mod">
          <ac:chgData name="Anna Biel" userId="ee1a03a6-ae04-44d1-b823-d97f549c10ae" providerId="ADAL" clId="{365736AE-2B4D-4B7E-B896-ADD3D6B2BA35}" dt="2025-02-14T12:00:08.415" v="13" actId="1076"/>
          <ac:picMkLst>
            <pc:docMk/>
            <pc:sldMk cId="1402642887" sldId="277"/>
            <ac:picMk id="14" creationId="{95C4C7D3-D659-F544-44D2-D286415FDF3A}"/>
          </ac:picMkLst>
        </pc:picChg>
        <pc:cxnChg chg="mod">
          <ac:chgData name="Anna Biel" userId="ee1a03a6-ae04-44d1-b823-d97f549c10ae" providerId="ADAL" clId="{365736AE-2B4D-4B7E-B896-ADD3D6B2BA35}" dt="2025-02-14T10:27:12.006" v="2" actId="554"/>
          <ac:cxnSpMkLst>
            <pc:docMk/>
            <pc:sldMk cId="1402642887" sldId="277"/>
            <ac:cxnSpMk id="12" creationId="{326FACFB-26DE-0925-A2A8-9C2E4E863C04}"/>
          </ac:cxnSpMkLst>
        </pc:cxnChg>
        <pc:cxnChg chg="mod">
          <ac:chgData name="Anna Biel" userId="ee1a03a6-ae04-44d1-b823-d97f549c10ae" providerId="ADAL" clId="{365736AE-2B4D-4B7E-B896-ADD3D6B2BA35}" dt="2025-02-14T10:27:12.006" v="2" actId="554"/>
          <ac:cxnSpMkLst>
            <pc:docMk/>
            <pc:sldMk cId="1402642887" sldId="277"/>
            <ac:cxnSpMk id="13" creationId="{E8B2BA2E-06CA-3778-D428-0CC3E4F7F0D8}"/>
          </ac:cxnSpMkLst>
        </pc:cxnChg>
      </pc:sldChg>
    </pc:docChg>
  </pc:docChgLst>
</pc:chgInfo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9A6EE5-A575-49BE-94AC-084D560828E8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5ABD20-FD9C-4D04-9F28-FDC6210EEA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774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3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58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9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9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4">
            <a:extLst>
              <a:ext uri="{FF2B5EF4-FFF2-40B4-BE49-F238E27FC236}">
                <a16:creationId xmlns:a16="http://schemas.microsoft.com/office/drawing/2014/main" id="{6B891F47-1BBE-4926-81DF-B17907D2F8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A2A4AEF-C603-4360-9387-8879E7186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4797EE6-BAEA-4DA7-95C2-6B09B77D3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41342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411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38097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6775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9811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780703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03852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12574">
              <a:defRPr>
                <a:solidFill>
                  <a:schemeClr val="bg1"/>
                </a:solidFill>
              </a:defRPr>
            </a:lvl2pPr>
            <a:lvl3pPr marL="625148">
              <a:defRPr>
                <a:solidFill>
                  <a:schemeClr val="bg1"/>
                </a:solidFill>
              </a:defRPr>
            </a:lvl3pPr>
            <a:lvl4pPr marL="937722">
              <a:defRPr>
                <a:solidFill>
                  <a:schemeClr val="bg1"/>
                </a:solidFill>
              </a:defRPr>
            </a:lvl4pPr>
            <a:lvl5pPr marL="1250296"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4831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56273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1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909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160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942201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7779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729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822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067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7175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6259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1557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2889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" y="0"/>
            <a:ext cx="10686252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25787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652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3442932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837000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2218617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28928" y="965692"/>
            <a:ext cx="4255650" cy="3719734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8324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265162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7201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6091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76993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6803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97748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60322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903813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928" y="958547"/>
            <a:ext cx="4249277" cy="4336314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323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3031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7004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572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6406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6640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9608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7008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3284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0250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8103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9433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66860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0283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C97D50-130A-4A23-A252-E7DADE010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DFDF024-768B-4E7C-9782-521852E5584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443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semi-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168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479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runner-up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8468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334018" y="6862306"/>
            <a:ext cx="10050463" cy="369332"/>
          </a:xfrm>
          <a:prstGeom prst="rect">
            <a:avLst/>
          </a:prstGeom>
          <a:solidFill>
            <a:srgbClr val="FFE6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chemeClr val="tx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winner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Global Data &amp; Analytics Leader, E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79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2583D832-9DE7-4AF6-B54B-C93C0E1630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6341" y="137764"/>
            <a:ext cx="10179130" cy="7177167"/>
          </a:xfrm>
          <a:prstGeom prst="rect">
            <a:avLst/>
          </a:prstGeom>
        </p:spPr>
      </p:pic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2" name="Graphic 20">
            <a:extLst>
              <a:ext uri="{FF2B5EF4-FFF2-40B4-BE49-F238E27FC236}">
                <a16:creationId xmlns:a16="http://schemas.microsoft.com/office/drawing/2014/main" id="{2B2F2FDE-E459-4A2A-8BA3-B5A5C8D78A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257270" y="2544457"/>
            <a:ext cx="10177272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257270" y="6945599"/>
            <a:ext cx="10177272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2BB68D-F8A9-44D7-A9A7-79F066CFE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</p:spTree>
    <p:extLst>
      <p:ext uri="{BB962C8B-B14F-4D97-AF65-F5344CB8AC3E}">
        <p14:creationId xmlns:p14="http://schemas.microsoft.com/office/powerpoint/2010/main" val="3111229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latin typeface="EYInterstate Light" panose="02000506000000020004" pitchFamily="2" charset="0"/>
                <a:ea typeface="+mj-ea"/>
                <a:cs typeface="+mj-cs"/>
              </a:rPr>
              <a:t>successfully completed the 2023 Better Working World Data Challenge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B27D91F6-FDE6-438D-B76B-5878BECBE7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7270" y="269875"/>
            <a:ext cx="10177272" cy="7019925"/>
          </a:xfrm>
          <a:prstGeom prst="rect">
            <a:avLst/>
          </a:prstGeom>
          <a:noFill/>
          <a:ln w="23813" cap="flat" cmpd="dbl">
            <a:solidFill>
              <a:srgbClr val="747480"/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77377EB-28DB-47B4-B9AF-499570F439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6687" y="152400"/>
            <a:ext cx="10358438" cy="7199881"/>
          </a:xfrm>
          <a:prstGeom prst="rect">
            <a:avLst/>
          </a:prstGeom>
          <a:noFill/>
          <a:ln w="23813" cap="flat" cmpd="dbl">
            <a:solidFill>
              <a:srgbClr val="74748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8B1DE5B3-FC16-47CF-9F30-1BC68AC58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4762" y="7314931"/>
            <a:ext cx="3854125" cy="402483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dirty="0">
                <a:solidFill>
                  <a:srgbClr val="444444"/>
                </a:solidFill>
                <a:latin typeface="Segoe UI" panose="020B0502040204020203" pitchFamily="34" charset="0"/>
              </a:rPr>
              <a:t>© 2023 EYGM Limited. All Rights Reserved.</a:t>
            </a:r>
            <a:endParaRPr lang="en-GB" dirty="0"/>
          </a:p>
          <a:p>
            <a:endParaRPr lang="en-GB" dirty="0"/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2B493B2-599A-4B17-80A7-BBD29BB1835A}"/>
              </a:ext>
            </a:extLst>
          </p:cNvPr>
          <p:cNvSpPr txBox="1">
            <a:spLocks/>
          </p:cNvSpPr>
          <p:nvPr userDrawn="1"/>
        </p:nvSpPr>
        <p:spPr>
          <a:xfrm>
            <a:off x="257270" y="6920468"/>
            <a:ext cx="10177272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0055C33-19A3-4284-9469-1C43A404CD13}"/>
              </a:ext>
            </a:extLst>
          </p:cNvPr>
          <p:cNvSpPr>
            <a:spLocks/>
          </p:cNvSpPr>
          <p:nvPr userDrawn="1"/>
        </p:nvSpPr>
        <p:spPr>
          <a:xfrm>
            <a:off x="257270" y="2544457"/>
            <a:ext cx="10177272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606500"/>
            <a:ext cx="2367926" cy="505789"/>
          </a:xfrm>
          <a:prstGeom prst="rect">
            <a:avLst/>
          </a:prstGeom>
        </p:spPr>
      </p:pic>
      <p:pic>
        <p:nvPicPr>
          <p:cNvPr id="22" name="Graphic 20">
            <a:extLst>
              <a:ext uri="{FF2B5EF4-FFF2-40B4-BE49-F238E27FC236}">
                <a16:creationId xmlns:a16="http://schemas.microsoft.com/office/drawing/2014/main" id="{2B2F2FDE-E459-4A2A-8BA3-B5A5C8D78AE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589" y="1429950"/>
            <a:ext cx="2364691" cy="601960"/>
          </a:xfrm>
          <a:prstGeom prst="rect">
            <a:avLst/>
          </a:prstGeom>
        </p:spPr>
      </p:pic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06264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finalist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34A261-A167-4F58-87E0-F338841AE911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696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96102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runner-up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26C2D4-B85B-41DF-9F88-C4AC13A221F7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0172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77C381A-4832-44EF-BC1F-D344FAAAD711}"/>
              </a:ext>
            </a:extLst>
          </p:cNvPr>
          <p:cNvSpPr>
            <a:spLocks/>
          </p:cNvSpPr>
          <p:nvPr userDrawn="1"/>
        </p:nvSpPr>
        <p:spPr>
          <a:xfrm>
            <a:off x="334018" y="2544457"/>
            <a:ext cx="10035533" cy="2484743"/>
          </a:xfrm>
          <a:prstGeom prst="rect">
            <a:avLst/>
          </a:prstGeom>
          <a:solidFill>
            <a:srgbClr val="74748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F42BA56-CAE3-41F7-9275-0DB1B2158B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9088" y="322263"/>
            <a:ext cx="10050463" cy="7019925"/>
          </a:xfrm>
          <a:prstGeom prst="rect">
            <a:avLst/>
          </a:prstGeom>
          <a:noFill/>
          <a:ln w="23813" cap="flat">
            <a:solidFill>
              <a:srgbClr val="2E2E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7">
            <a:extLst>
              <a:ext uri="{FF2B5EF4-FFF2-40B4-BE49-F238E27FC236}">
                <a16:creationId xmlns:a16="http://schemas.microsoft.com/office/drawing/2014/main" id="{26EB76D5-7537-4808-BE7E-0FC9CCE11925}"/>
              </a:ext>
            </a:extLst>
          </p:cNvPr>
          <p:cNvSpPr>
            <a:spLocks/>
          </p:cNvSpPr>
          <p:nvPr userDrawn="1"/>
        </p:nvSpPr>
        <p:spPr bwMode="auto">
          <a:xfrm>
            <a:off x="3338514" y="2239657"/>
            <a:ext cx="4014786" cy="57422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R="0" lvl="0" indent="0" algn="ctr" defTabSz="100794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2800" b="1" i="0" u="none" strike="noStrike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</a:rPr>
              <a:t>This is to certify that</a:t>
            </a:r>
            <a:endParaRPr kumimoji="0" lang="en-GB" sz="2800" b="1" i="0" u="none" strike="noStrike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66" name="Subtitle 2">
            <a:extLst>
              <a:ext uri="{FF2B5EF4-FFF2-40B4-BE49-F238E27FC236}">
                <a16:creationId xmlns:a16="http://schemas.microsoft.com/office/drawing/2014/main" id="{0008E2B0-8C2A-41AF-96F4-19FD43337F99}"/>
              </a:ext>
            </a:extLst>
          </p:cNvPr>
          <p:cNvSpPr txBox="1">
            <a:spLocks/>
          </p:cNvSpPr>
          <p:nvPr userDrawn="1"/>
        </p:nvSpPr>
        <p:spPr>
          <a:xfrm>
            <a:off x="2214400" y="390505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is a global </a:t>
            </a:r>
            <a:r>
              <a:rPr lang="en-GB" sz="2800" b="1" dirty="0">
                <a:latin typeface="EYInterstate" panose="02000503020000020004" pitchFamily="2" charset="0"/>
                <a:ea typeface="+mj-ea"/>
                <a:cs typeface="+mj-cs"/>
              </a:rPr>
              <a:t>winner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 in the </a:t>
            </a:r>
            <a: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  <a:t>2022 Better Working World Data Challenge.</a:t>
            </a:r>
            <a:br>
              <a:rPr lang="en-GB" dirty="0"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67" name="Title 35">
            <a:extLst>
              <a:ext uri="{FF2B5EF4-FFF2-40B4-BE49-F238E27FC236}">
                <a16:creationId xmlns:a16="http://schemas.microsoft.com/office/drawing/2014/main" id="{E99C4E33-460E-455E-BE5F-18795CB92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4400" y="3201833"/>
            <a:ext cx="6263014" cy="574258"/>
          </a:xfrm>
        </p:spPr>
        <p:txBody>
          <a:bodyPr>
            <a:normAutofit/>
          </a:bodyPr>
          <a:lstStyle>
            <a:lvl1pPr algn="ctr">
              <a:defRPr sz="3500" b="1"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[Insert Name Here]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5307B001-A857-4A97-B110-28C358E21379}"/>
              </a:ext>
            </a:extLst>
          </p:cNvPr>
          <p:cNvSpPr txBox="1">
            <a:spLocks/>
          </p:cNvSpPr>
          <p:nvPr userDrawn="1"/>
        </p:nvSpPr>
        <p:spPr>
          <a:xfrm>
            <a:off x="569746" y="6165616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Beatriz Sanz Saiz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EY Global Data &amp; Analytics Leader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28881B7-9B56-45C9-8F51-5B4E7B548053}"/>
              </a:ext>
            </a:extLst>
          </p:cNvPr>
          <p:cNvSpPr txBox="1">
            <a:spLocks/>
          </p:cNvSpPr>
          <p:nvPr userDrawn="1"/>
        </p:nvSpPr>
        <p:spPr>
          <a:xfrm>
            <a:off x="7081583" y="6165617"/>
            <a:ext cx="3040484" cy="461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EYInterstate Light" panose="02000506000000020004" pitchFamily="2" charset="0"/>
              </a:rPr>
              <a:t>Alexandros Papaspyridis</a:t>
            </a:r>
          </a:p>
          <a:p>
            <a:r>
              <a:rPr lang="en-GB" sz="1400" dirty="0">
                <a:latin typeface="EYInterstate Light" panose="02000506000000020004" pitchFamily="2" charset="0"/>
              </a:rPr>
              <a:t>Director, Higher Education, Microsof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5E3987-3B16-4B7B-8F8D-4B8F9C35145F}"/>
              </a:ext>
            </a:extLst>
          </p:cNvPr>
          <p:cNvSpPr txBox="1">
            <a:spLocks/>
          </p:cNvSpPr>
          <p:nvPr userDrawn="1"/>
        </p:nvSpPr>
        <p:spPr>
          <a:xfrm>
            <a:off x="334018" y="6972856"/>
            <a:ext cx="10050463" cy="369332"/>
          </a:xfrm>
          <a:prstGeom prst="rect">
            <a:avLst/>
          </a:prstGeom>
          <a:solidFill>
            <a:srgbClr val="2E2E3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800" b="0" dirty="0">
                <a:solidFill>
                  <a:srgbClr val="FFE600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EE756391-C984-4279-B19F-5D6A5E90CB8D}"/>
              </a:ext>
            </a:extLst>
          </p:cNvPr>
          <p:cNvCxnSpPr>
            <a:cxnSpLocks/>
          </p:cNvCxnSpPr>
          <p:nvPr userDrawn="1"/>
        </p:nvCxnSpPr>
        <p:spPr>
          <a:xfrm>
            <a:off x="2214400" y="3795622"/>
            <a:ext cx="6263014" cy="0"/>
          </a:xfrm>
          <a:prstGeom prst="line">
            <a:avLst/>
          </a:prstGeom>
          <a:ln w="28575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3382338-D59F-43D1-BDD6-CEB9B868029F}"/>
              </a:ext>
            </a:extLst>
          </p:cNvPr>
          <p:cNvCxnSpPr>
            <a:cxnSpLocks/>
          </p:cNvCxnSpPr>
          <p:nvPr userDrawn="1"/>
        </p:nvCxnSpPr>
        <p:spPr>
          <a:xfrm>
            <a:off x="569746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2A08271-3DEB-49A4-B899-7C61600D1DC4}"/>
              </a:ext>
            </a:extLst>
          </p:cNvPr>
          <p:cNvCxnSpPr>
            <a:cxnSpLocks/>
          </p:cNvCxnSpPr>
          <p:nvPr userDrawn="1"/>
        </p:nvCxnSpPr>
        <p:spPr>
          <a:xfrm>
            <a:off x="7081582" y="6114752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4">
            <a:extLst>
              <a:ext uri="{FF2B5EF4-FFF2-40B4-BE49-F238E27FC236}">
                <a16:creationId xmlns:a16="http://schemas.microsoft.com/office/drawing/2014/main" id="{5044809D-1320-4B48-BEF6-F0C62017E5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2844" y="561618"/>
            <a:ext cx="1080000" cy="1282704"/>
            <a:chOff x="4857" y="3364"/>
            <a:chExt cx="622" cy="729"/>
          </a:xfrm>
        </p:grpSpPr>
        <p:sp>
          <p:nvSpPr>
            <p:cNvPr id="171" name="AutoShape 3">
              <a:extLst>
                <a:ext uri="{FF2B5EF4-FFF2-40B4-BE49-F238E27FC236}">
                  <a16:creationId xmlns:a16="http://schemas.microsoft.com/office/drawing/2014/main" id="{5E7BEA53-1940-4BF4-8134-CD6ACFEA8F5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6C5F8E9B-E8EE-4952-B94D-B8424625C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  <p:sp>
          <p:nvSpPr>
            <p:cNvPr id="173" name="Freeform 6">
              <a:extLst>
                <a:ext uri="{FF2B5EF4-FFF2-40B4-BE49-F238E27FC236}">
                  <a16:creationId xmlns:a16="http://schemas.microsoft.com/office/drawing/2014/main" id="{9D49455B-7C03-472F-8E9A-1ED96B78BC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moveTo>
                    <a:pt x="152" y="1823"/>
                  </a:moveTo>
                  <a:moveTo>
                    <a:pt x="151" y="1685"/>
                  </a:moveTo>
                  <a:moveTo>
                    <a:pt x="298" y="1778"/>
                  </a:moveTo>
                  <a:moveTo>
                    <a:pt x="1143" y="1874"/>
                  </a:moveTo>
                  <a:moveTo>
                    <a:pt x="597" y="1755"/>
                  </a:moveTo>
                  <a:moveTo>
                    <a:pt x="646" y="1585"/>
                  </a:moveTo>
                  <a:moveTo>
                    <a:pt x="877" y="1666"/>
                  </a:moveTo>
                  <a:moveTo>
                    <a:pt x="838" y="1829"/>
                  </a:moveTo>
                  <a:moveTo>
                    <a:pt x="2084" y="1645"/>
                  </a:moveTo>
                  <a:moveTo>
                    <a:pt x="2074" y="1696"/>
                  </a:moveTo>
                  <a:moveTo>
                    <a:pt x="1455" y="1666"/>
                  </a:moveTo>
                  <a:moveTo>
                    <a:pt x="1455" y="1719"/>
                  </a:moveTo>
                  <a:moveTo>
                    <a:pt x="1683" y="1705"/>
                  </a:moveTo>
                  <a:moveTo>
                    <a:pt x="1698" y="1800"/>
                  </a:moveTo>
                  <a:moveTo>
                    <a:pt x="2350" y="1810"/>
                  </a:moveTo>
                  <a:moveTo>
                    <a:pt x="2257" y="1739"/>
                  </a:moveTo>
                  <a:moveTo>
                    <a:pt x="2884" y="1810"/>
                  </a:moveTo>
                  <a:moveTo>
                    <a:pt x="2791" y="1739"/>
                  </a:moveTo>
                  <a:moveTo>
                    <a:pt x="2658" y="1797"/>
                  </a:moveTo>
                  <a:moveTo>
                    <a:pt x="2550" y="1869"/>
                  </a:moveTo>
                  <a:moveTo>
                    <a:pt x="3096" y="1713"/>
                  </a:moveTo>
                  <a:moveTo>
                    <a:pt x="597" y="1591"/>
                  </a:moveTo>
                  <a:moveTo>
                    <a:pt x="981" y="1651"/>
                  </a:moveTo>
                  <a:moveTo>
                    <a:pt x="1037" y="1591"/>
                  </a:moveTo>
                  <a:moveTo>
                    <a:pt x="2558" y="2058"/>
                  </a:moveTo>
                  <a:moveTo>
                    <a:pt x="2519" y="2220"/>
                  </a:moveTo>
                  <a:moveTo>
                    <a:pt x="677" y="2105"/>
                  </a:moveTo>
                  <a:moveTo>
                    <a:pt x="242" y="2042"/>
                  </a:moveTo>
                  <a:moveTo>
                    <a:pt x="409" y="2037"/>
                  </a:moveTo>
                  <a:moveTo>
                    <a:pt x="409" y="2219"/>
                  </a:moveTo>
                  <a:moveTo>
                    <a:pt x="2285" y="2105"/>
                  </a:moveTo>
                  <a:moveTo>
                    <a:pt x="1850" y="2042"/>
                  </a:moveTo>
                  <a:moveTo>
                    <a:pt x="2016" y="2037"/>
                  </a:moveTo>
                  <a:moveTo>
                    <a:pt x="2016" y="2219"/>
                  </a:moveTo>
                  <a:moveTo>
                    <a:pt x="843" y="2116"/>
                  </a:moveTo>
                  <a:moveTo>
                    <a:pt x="1105" y="2266"/>
                  </a:moveTo>
                  <a:moveTo>
                    <a:pt x="1418" y="2058"/>
                  </a:moveTo>
                  <a:moveTo>
                    <a:pt x="1418" y="2110"/>
                  </a:moveTo>
                  <a:moveTo>
                    <a:pt x="945" y="2042"/>
                  </a:moveTo>
                  <a:moveTo>
                    <a:pt x="1000" y="1982"/>
                  </a:moveTo>
                  <a:moveTo>
                    <a:pt x="2325" y="1977"/>
                  </a:moveTo>
                  <a:moveTo>
                    <a:pt x="400" y="762"/>
                  </a:moveTo>
                  <a:moveTo>
                    <a:pt x="1702" y="0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id="{16EC7F8A-510D-47E1-8C81-E7D29DC71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07157" y="808302"/>
            <a:ext cx="2367926" cy="50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493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8532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8532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4927" y="6519798"/>
            <a:ext cx="504862" cy="634933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374085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04928" y="6178696"/>
            <a:ext cx="916003" cy="2177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52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4928" y="6635041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928" y="6852878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168532" y="6293181"/>
            <a:ext cx="7118994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53518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4193057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28353" y="3527770"/>
            <a:ext cx="4214220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28928" y="797699"/>
            <a:ext cx="4979329" cy="3806176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2892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679020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929008" y="4433241"/>
            <a:ext cx="132918" cy="167163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578" dirty="0"/>
          </a:p>
        </p:txBody>
      </p:sp>
    </p:spTree>
    <p:extLst>
      <p:ext uri="{BB962C8B-B14F-4D97-AF65-F5344CB8AC3E}">
        <p14:creationId xmlns:p14="http://schemas.microsoft.com/office/powerpoint/2010/main" val="3402411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36597" y="6422761"/>
            <a:ext cx="3399074" cy="628534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moveTo>
                    <a:pt x="25" y="12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53"/>
                  </a:lnTo>
                  <a:lnTo>
                    <a:pt x="25" y="1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moveTo>
                    <a:pt x="1" y="53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close/>
                  <a:close/>
                  <a:lnTo>
                    <a:pt x="1" y="53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moveTo>
                    <a:pt x="26" y="20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moveTo>
                    <a:pt x="25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6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moveTo>
                    <a:pt x="24" y="22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39"/>
                  </a:lnTo>
                  <a:lnTo>
                    <a:pt x="24" y="22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6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close/>
                  <a:close/>
                  <a:lnTo>
                    <a:pt x="25" y="16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moveTo>
                    <a:pt x="25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5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close/>
                  <a:close/>
                  <a:lnTo>
                    <a:pt x="25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moveTo>
                    <a:pt x="26" y="17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close/>
                  <a:close/>
                  <a:lnTo>
                    <a:pt x="26" y="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moveTo>
                    <a:pt x="27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moveTo>
                    <a:pt x="24" y="26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53"/>
                  </a:lnTo>
                  <a:lnTo>
                    <a:pt x="24" y="26"/>
                  </a:ln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moveTo>
                    <a:pt x="27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28928" y="965692"/>
            <a:ext cx="4255650" cy="3719734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78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184" y="2379158"/>
            <a:ext cx="3506369" cy="948432"/>
          </a:xfrm>
          <a:prstGeom prst="rect">
            <a:avLst/>
          </a:prstGeo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8352" y="3527770"/>
            <a:ext cx="3524067" cy="7118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753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402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295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99084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58493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76993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98620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9094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86502" y="1"/>
            <a:ext cx="3505313" cy="678596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2" y="324301"/>
            <a:ext cx="6525011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6398112" cy="96315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34591" y="2547892"/>
            <a:ext cx="3137961" cy="4238074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794743" y="2547892"/>
            <a:ext cx="3137961" cy="13831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4743" y="4670201"/>
            <a:ext cx="3137961" cy="2143076"/>
          </a:xfrm>
        </p:spPr>
        <p:txBody>
          <a:bodyPr numCol="1"/>
          <a:lstStyle>
            <a:lvl1pPr marL="0" indent="0">
              <a:buNone/>
              <a:defRPr sz="1578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652501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1404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526581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448102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228" y="3143275"/>
            <a:ext cx="3898482" cy="13253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155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12574" marR="0" lvl="0" indent="-312574" defTabSz="88341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28637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18397" y="1641266"/>
            <a:ext cx="2049589" cy="946710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950" y="2785290"/>
            <a:ext cx="4638420" cy="1984167"/>
          </a:xfrm>
        </p:spPr>
        <p:txBody>
          <a:bodyPr lIns="90000" tIns="46800" rIns="90000" bIns="46800"/>
          <a:lstStyle>
            <a:lvl1pPr marL="0" indent="0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950" y="5106766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950" y="5480094"/>
            <a:ext cx="4638420" cy="349255"/>
          </a:xfrm>
        </p:spPr>
        <p:txBody>
          <a:bodyPr lIns="90000" tIns="46800" rIns="90000" bIns="46800"/>
          <a:lstStyle>
            <a:lvl1pPr marL="0" indent="0" algn="l" defTabSz="801472" rtl="0" eaLnBrk="1" latinLnBrk="0" hangingPunct="1">
              <a:spcBef>
                <a:spcPts val="0"/>
              </a:spcBef>
              <a:spcAft>
                <a:spcPts val="526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402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12574" indent="0">
              <a:buNone/>
              <a:defRPr lang="en-US" sz="1753" smtClean="0">
                <a:latin typeface="+mn-lt"/>
              </a:defRPr>
            </a:lvl2pPr>
            <a:lvl3pPr>
              <a:defRPr lang="en-US" sz="1578" smtClean="0">
                <a:latin typeface="+mn-lt"/>
              </a:defRPr>
            </a:lvl3pPr>
            <a:lvl4pPr>
              <a:defRPr lang="en-US" sz="1402" smtClean="0">
                <a:latin typeface="+mn-lt"/>
              </a:defRPr>
            </a:lvl4pPr>
            <a:lvl5pPr>
              <a:defRPr lang="en-IN" sz="1402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705726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6697" y="2271027"/>
            <a:ext cx="4638420" cy="333507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454" dirty="0" smtClean="0">
                <a:latin typeface="Georgia" panose="02040502050405020303" pitchFamily="18" charset="0"/>
              </a:defRPr>
            </a:lvl1pPr>
          </a:lstStyle>
          <a:p>
            <a:pPr marL="312574" lvl="0" indent="-312574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6697" y="6070093"/>
            <a:ext cx="4638420" cy="34925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26697" y="6414058"/>
            <a:ext cx="4638420" cy="3492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402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12574" lvl="0" indent="-312574" algn="ctr">
              <a:spcBef>
                <a:spcPts val="0"/>
              </a:spcBef>
              <a:spcAft>
                <a:spcPts val="526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321112" y="1080034"/>
            <a:ext cx="2049589" cy="972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817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4932238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8102" y="0"/>
            <a:ext cx="5233711" cy="7559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046" y="2842586"/>
            <a:ext cx="3977506" cy="1163723"/>
          </a:xfrm>
        </p:spPr>
        <p:txBody>
          <a:bodyPr/>
          <a:lstStyle>
            <a:lvl1pPr marL="0" indent="0">
              <a:buNone/>
              <a:defRPr sz="263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046" y="4233312"/>
            <a:ext cx="3977506" cy="1163723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70944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4590" y="1254347"/>
            <a:ext cx="4345237" cy="470408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</p:spPr>
        <p:txBody>
          <a:bodyPr/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</p:spPr>
        <p:txBody>
          <a:bodyPr/>
          <a:lstStyle>
            <a:lvl1pPr marL="0" indent="0">
              <a:buNone/>
              <a:defRPr sz="1402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03481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252450" y="7133348"/>
            <a:ext cx="1044134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AD1DFC-053D-4B86-B715-9C611EC38679}" type="datetime3">
              <a:rPr lang="en-US" smtClean="0"/>
              <a:pPr/>
              <a:t>14 February 2025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39138" y="7133348"/>
            <a:ext cx="2704956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540992" y="7133348"/>
            <a:ext cx="581175" cy="1984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76778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12574">
              <a:defRPr>
                <a:solidFill>
                  <a:schemeClr val="bg1"/>
                </a:solidFill>
              </a:defRPr>
            </a:lvl2pPr>
            <a:lvl3pPr marL="625148">
              <a:defRPr>
                <a:solidFill>
                  <a:schemeClr val="bg1"/>
                </a:solidFill>
              </a:defRPr>
            </a:lvl3pPr>
            <a:lvl4pPr marL="937722">
              <a:defRPr>
                <a:solidFill>
                  <a:schemeClr val="bg1"/>
                </a:solidFill>
              </a:defRPr>
            </a:lvl4pPr>
            <a:lvl5pPr marL="1250296"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24993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15200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089971" cy="755967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416" y="324301"/>
            <a:ext cx="7793808" cy="650807"/>
          </a:xfrm>
        </p:spPr>
        <p:txBody>
          <a:bodyPr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2415" y="1254347"/>
            <a:ext cx="2404127" cy="5531619"/>
          </a:xfrm>
        </p:spPr>
        <p:txBody>
          <a:bodyPr/>
          <a:lstStyle>
            <a:lvl1pPr marL="0" indent="0">
              <a:buNone/>
              <a:defRPr sz="1578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19769" y="1254347"/>
            <a:ext cx="2457558" cy="553161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730553" y="1254348"/>
            <a:ext cx="2426669" cy="3082239"/>
          </a:xfrm>
        </p:spPr>
        <p:txBody>
          <a:bodyPr numCol="1"/>
          <a:lstStyle>
            <a:lvl1pPr marL="0" indent="0">
              <a:buNone/>
              <a:defRPr sz="1227">
                <a:solidFill>
                  <a:schemeClr val="bg1"/>
                </a:solidFill>
              </a:defRPr>
            </a:lvl1pPr>
            <a:lvl2pPr marL="312574" indent="0">
              <a:buNone/>
              <a:defRPr sz="1578">
                <a:solidFill>
                  <a:schemeClr val="bg1"/>
                </a:solidFill>
              </a:defRPr>
            </a:lvl2pPr>
            <a:lvl3pPr marL="625148" indent="0">
              <a:buNone/>
              <a:defRPr sz="1402">
                <a:solidFill>
                  <a:schemeClr val="bg1"/>
                </a:solidFill>
              </a:defRPr>
            </a:lvl3pPr>
            <a:lvl4pPr marL="937722" indent="0">
              <a:buNone/>
              <a:defRPr sz="1227">
                <a:solidFill>
                  <a:schemeClr val="bg1"/>
                </a:solidFill>
              </a:defRPr>
            </a:lvl4pPr>
            <a:lvl5pPr marL="1250296" indent="0"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2416" y="1000626"/>
            <a:ext cx="779380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1430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591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005" y="1254345"/>
            <a:ext cx="4722218" cy="5329472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94937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984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3957" y="2060712"/>
            <a:ext cx="4727129" cy="4691535"/>
          </a:xfrm>
        </p:spPr>
        <p:txBody>
          <a:bodyPr/>
          <a:lstStyle>
            <a:lvl1pPr>
              <a:defRPr sz="1753">
                <a:solidFill>
                  <a:schemeClr val="bg1"/>
                </a:solidFill>
              </a:defRPr>
            </a:lvl1pPr>
            <a:lvl2pPr>
              <a:defRPr sz="1578">
                <a:solidFill>
                  <a:schemeClr val="bg1"/>
                </a:solidFill>
              </a:defRPr>
            </a:lvl2pPr>
            <a:lvl3pPr>
              <a:defRPr sz="1402">
                <a:solidFill>
                  <a:schemeClr val="bg1"/>
                </a:solidFill>
              </a:defRPr>
            </a:lvl3pPr>
            <a:lvl4pPr>
              <a:defRPr sz="1227">
                <a:solidFill>
                  <a:schemeClr val="bg1"/>
                </a:solidFill>
              </a:defRPr>
            </a:lvl4pPr>
            <a:lvl5pPr>
              <a:defRPr sz="1052">
                <a:solidFill>
                  <a:schemeClr val="bg1"/>
                </a:solidFill>
              </a:defRPr>
            </a:lvl5pPr>
            <a:lvl6pPr>
              <a:defRPr sz="1578"/>
            </a:lvl6pPr>
            <a:lvl7pPr>
              <a:defRPr sz="1578"/>
            </a:lvl7pPr>
            <a:lvl8pPr>
              <a:defRPr sz="1578"/>
            </a:lvl8pPr>
            <a:lvl9pPr>
              <a:defRPr sz="157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591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3957" y="1254346"/>
            <a:ext cx="4727129" cy="706363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1421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7889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71579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320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6434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08815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691813" cy="75596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658226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985693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" y="0"/>
            <a:ext cx="10686247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5706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96037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" y="0"/>
            <a:ext cx="10686252" cy="755967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734" y="792717"/>
            <a:ext cx="4099931" cy="5743129"/>
          </a:xfrm>
        </p:spPr>
        <p:txBody>
          <a:bodyPr/>
          <a:lstStyle>
            <a:lvl1pPr marL="0" indent="0" algn="l" defTabSz="872436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052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54451" indent="-154451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89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70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65582" indent="-165582" algn="l" defTabSz="872436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701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51581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92340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 descr="A white circle with yellow lines&#10;&#10;Description automatically generated">
            <a:extLst>
              <a:ext uri="{FF2B5EF4-FFF2-40B4-BE49-F238E27FC236}">
                <a16:creationId xmlns:a16="http://schemas.microsoft.com/office/drawing/2014/main" id="{19C03405-DDBC-D7EF-EE8B-1E3539F68E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2"/>
          <a:stretch/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D44C8846-825E-EE10-3034-35D6DD60D3B6}"/>
              </a:ext>
            </a:extLst>
          </p:cNvPr>
          <p:cNvSpPr/>
          <p:nvPr userDrawn="1"/>
        </p:nvSpPr>
        <p:spPr>
          <a:xfrm rot="10800000">
            <a:off x="8345773" y="0"/>
            <a:ext cx="2346040" cy="2042016"/>
          </a:xfrm>
          <a:prstGeom prst="rtTriangle">
            <a:avLst/>
          </a:prstGeom>
          <a:solidFill>
            <a:srgbClr val="2D2E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2649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2A4959B-EEEF-BC01-5212-50777D4986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205" t="28614" r="25302" b="28614"/>
          <a:stretch/>
        </p:blipFill>
        <p:spPr>
          <a:xfrm>
            <a:off x="-1" y="0"/>
            <a:ext cx="10691814" cy="7559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68599072-661E-0DE6-3E5C-F590384F43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338" y="366626"/>
            <a:ext cx="9863138" cy="6826424"/>
          </a:xfrm>
          <a:prstGeom prst="rect">
            <a:avLst/>
          </a:prstGeom>
        </p:spPr>
      </p:pic>
      <p:sp>
        <p:nvSpPr>
          <p:cNvPr id="4" name="Graphic 13">
            <a:extLst>
              <a:ext uri="{FF2B5EF4-FFF2-40B4-BE49-F238E27FC236}">
                <a16:creationId xmlns:a16="http://schemas.microsoft.com/office/drawing/2014/main" id="{20A8FE85-EEEB-6044-3D3D-FB1D8CE487C1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0"/>
            <a:ext cx="2904100" cy="7559362"/>
          </a:xfrm>
          <a:custGeom>
            <a:avLst/>
            <a:gdLst>
              <a:gd name="connsiteX0" fmla="*/ 2333149 w 2333244"/>
              <a:gd name="connsiteY0" fmla="*/ 5357051 h 6073425"/>
              <a:gd name="connsiteX1" fmla="*/ 2225612 w 2333244"/>
              <a:gd name="connsiteY1" fmla="*/ 6073426 h 6073425"/>
              <a:gd name="connsiteX2" fmla="*/ 0 w 2333244"/>
              <a:gd name="connsiteY2" fmla="*/ 6073426 h 6073425"/>
              <a:gd name="connsiteX3" fmla="*/ 0 w 2333244"/>
              <a:gd name="connsiteY3" fmla="*/ 0 h 6073425"/>
              <a:gd name="connsiteX4" fmla="*/ 878015 w 2333244"/>
              <a:gd name="connsiteY4" fmla="*/ 0 h 6073425"/>
              <a:gd name="connsiteX5" fmla="*/ 876110 w 2333244"/>
              <a:gd name="connsiteY5" fmla="*/ 3619 h 6073425"/>
              <a:gd name="connsiteX6" fmla="*/ 717899 w 2333244"/>
              <a:gd name="connsiteY6" fmla="*/ 1297400 h 6073425"/>
              <a:gd name="connsiteX7" fmla="*/ 1233107 w 2333244"/>
              <a:gd name="connsiteY7" fmla="*/ 2631281 h 6073425"/>
              <a:gd name="connsiteX8" fmla="*/ 1949863 w 2333244"/>
              <a:gd name="connsiteY8" fmla="*/ 3914204 h 6073425"/>
              <a:gd name="connsiteX9" fmla="*/ 2330291 w 2333244"/>
              <a:gd name="connsiteY9" fmla="*/ 5238941 h 6073425"/>
              <a:gd name="connsiteX10" fmla="*/ 2333244 w 2333244"/>
              <a:gd name="connsiteY10" fmla="*/ 5357051 h 607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3244" h="6073425">
                <a:moveTo>
                  <a:pt x="2333149" y="5357051"/>
                </a:moveTo>
                <a:cubicBezTo>
                  <a:pt x="2333149" y="5587175"/>
                  <a:pt x="2299716" y="5856447"/>
                  <a:pt x="2225612" y="6073426"/>
                </a:cubicBezTo>
                <a:cubicBezTo>
                  <a:pt x="877348" y="1238"/>
                  <a:pt x="876586" y="2381"/>
                  <a:pt x="876110" y="3619"/>
                </a:cubicBezTo>
                <a:cubicBezTo>
                  <a:pt x="674561" y="399193"/>
                  <a:pt x="644652" y="865061"/>
                  <a:pt x="717899" y="1297400"/>
                </a:cubicBezTo>
                <a:cubicBezTo>
                  <a:pt x="798100" y="1771269"/>
                  <a:pt x="1003459" y="2213039"/>
                  <a:pt x="1233107" y="2631281"/>
                </a:cubicBezTo>
                <a:cubicBezTo>
                  <a:pt x="1468946" y="3060669"/>
                  <a:pt x="1735455" y="3473101"/>
                  <a:pt x="1949863" y="3914204"/>
                </a:cubicBezTo>
                <a:cubicBezTo>
                  <a:pt x="2151793" y="4329780"/>
                  <a:pt x="2307527" y="4774025"/>
                  <a:pt x="2330291" y="5238941"/>
                </a:cubicBezTo>
                <a:cubicBezTo>
                  <a:pt x="2332196" y="5278184"/>
                  <a:pt x="2333244" y="5317617"/>
                  <a:pt x="2333244" y="5357051"/>
                </a:cubicBezTo>
                <a:lnTo>
                  <a:pt x="0" y="6073426"/>
                </a:lnTo>
                <a:lnTo>
                  <a:pt x="0" y="0"/>
                </a:lnTo>
                <a:lnTo>
                  <a:pt x="878015" y="0"/>
                </a:lnTo>
                <a:close/>
              </a:path>
            </a:pathLst>
          </a:custGeom>
          <a:solidFill>
            <a:srgbClr val="C4C4C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Graphic 13">
            <a:extLst>
              <a:ext uri="{FF2B5EF4-FFF2-40B4-BE49-F238E27FC236}">
                <a16:creationId xmlns:a16="http://schemas.microsoft.com/office/drawing/2014/main" id="{C2085C4A-E897-41AA-1CA5-41194C83089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2904100" cy="7559362"/>
          </a:xfrm>
          <a:custGeom>
            <a:avLst/>
            <a:gdLst>
              <a:gd name="connsiteX0" fmla="*/ 2333149 w 2333244"/>
              <a:gd name="connsiteY0" fmla="*/ 5357051 h 6073425"/>
              <a:gd name="connsiteX1" fmla="*/ 2225612 w 2333244"/>
              <a:gd name="connsiteY1" fmla="*/ 6073426 h 6073425"/>
              <a:gd name="connsiteX2" fmla="*/ 0 w 2333244"/>
              <a:gd name="connsiteY2" fmla="*/ 6073426 h 6073425"/>
              <a:gd name="connsiteX3" fmla="*/ 0 w 2333244"/>
              <a:gd name="connsiteY3" fmla="*/ 0 h 6073425"/>
              <a:gd name="connsiteX4" fmla="*/ 878015 w 2333244"/>
              <a:gd name="connsiteY4" fmla="*/ 0 h 6073425"/>
              <a:gd name="connsiteX5" fmla="*/ 876110 w 2333244"/>
              <a:gd name="connsiteY5" fmla="*/ 3619 h 6073425"/>
              <a:gd name="connsiteX6" fmla="*/ 717899 w 2333244"/>
              <a:gd name="connsiteY6" fmla="*/ 1297400 h 6073425"/>
              <a:gd name="connsiteX7" fmla="*/ 1233107 w 2333244"/>
              <a:gd name="connsiteY7" fmla="*/ 2631281 h 6073425"/>
              <a:gd name="connsiteX8" fmla="*/ 1949863 w 2333244"/>
              <a:gd name="connsiteY8" fmla="*/ 3914204 h 6073425"/>
              <a:gd name="connsiteX9" fmla="*/ 2330291 w 2333244"/>
              <a:gd name="connsiteY9" fmla="*/ 5238941 h 6073425"/>
              <a:gd name="connsiteX10" fmla="*/ 2333244 w 2333244"/>
              <a:gd name="connsiteY10" fmla="*/ 5357051 h 607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3244" h="6073425">
                <a:moveTo>
                  <a:pt x="2333149" y="5357051"/>
                </a:moveTo>
                <a:cubicBezTo>
                  <a:pt x="2333149" y="5587175"/>
                  <a:pt x="2299716" y="5856447"/>
                  <a:pt x="2225612" y="6073426"/>
                </a:cubicBezTo>
                <a:cubicBezTo>
                  <a:pt x="877348" y="1238"/>
                  <a:pt x="876586" y="2381"/>
                  <a:pt x="876110" y="3619"/>
                </a:cubicBezTo>
                <a:cubicBezTo>
                  <a:pt x="674561" y="399193"/>
                  <a:pt x="644652" y="865061"/>
                  <a:pt x="717899" y="1297400"/>
                </a:cubicBezTo>
                <a:cubicBezTo>
                  <a:pt x="798100" y="1771269"/>
                  <a:pt x="1003459" y="2213039"/>
                  <a:pt x="1233107" y="2631281"/>
                </a:cubicBezTo>
                <a:cubicBezTo>
                  <a:pt x="1468946" y="3060669"/>
                  <a:pt x="1735455" y="3473101"/>
                  <a:pt x="1949863" y="3914204"/>
                </a:cubicBezTo>
                <a:cubicBezTo>
                  <a:pt x="2151793" y="4329780"/>
                  <a:pt x="2307527" y="4774025"/>
                  <a:pt x="2330291" y="5238941"/>
                </a:cubicBezTo>
                <a:cubicBezTo>
                  <a:pt x="2332196" y="5278184"/>
                  <a:pt x="2333244" y="5317617"/>
                  <a:pt x="2333244" y="5357051"/>
                </a:cubicBezTo>
                <a:lnTo>
                  <a:pt x="0" y="6073426"/>
                </a:lnTo>
                <a:lnTo>
                  <a:pt x="0" y="0"/>
                </a:lnTo>
                <a:lnTo>
                  <a:pt x="878015" y="0"/>
                </a:lnTo>
                <a:close/>
              </a:path>
            </a:pathLst>
          </a:custGeom>
          <a:solidFill>
            <a:srgbClr val="74748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Graphic 10">
            <a:extLst>
              <a:ext uri="{FF2B5EF4-FFF2-40B4-BE49-F238E27FC236}">
                <a16:creationId xmlns:a16="http://schemas.microsoft.com/office/drawing/2014/main" id="{93B4917C-9F14-B833-EEB5-25D4BECDA513}"/>
              </a:ext>
            </a:extLst>
          </p:cNvPr>
          <p:cNvSpPr/>
          <p:nvPr userDrawn="1"/>
        </p:nvSpPr>
        <p:spPr>
          <a:xfrm>
            <a:off x="0" y="0"/>
            <a:ext cx="3263900" cy="7559362"/>
          </a:xfrm>
          <a:custGeom>
            <a:avLst/>
            <a:gdLst>
              <a:gd name="connsiteX0" fmla="*/ 2444020 w 2605909"/>
              <a:gd name="connsiteY0" fmla="*/ 1162431 h 6035421"/>
              <a:gd name="connsiteX1" fmla="*/ 1756220 w 2605909"/>
              <a:gd name="connsiteY1" fmla="*/ 2387251 h 6035421"/>
              <a:gd name="connsiteX2" fmla="*/ 1101852 w 2605909"/>
              <a:gd name="connsiteY2" fmla="*/ 3630930 h 6035421"/>
              <a:gd name="connsiteX3" fmla="*/ 943166 w 2605909"/>
              <a:gd name="connsiteY3" fmla="*/ 4970145 h 6035421"/>
              <a:gd name="connsiteX4" fmla="*/ 1189958 w 2605909"/>
              <a:gd name="connsiteY4" fmla="*/ 6035421 h 6035421"/>
              <a:gd name="connsiteX5" fmla="*/ 0 w 2605909"/>
              <a:gd name="connsiteY5" fmla="*/ 6035421 h 6035421"/>
              <a:gd name="connsiteX6" fmla="*/ 0 w 2605909"/>
              <a:gd name="connsiteY6" fmla="*/ 0 h 6035421"/>
              <a:gd name="connsiteX7" fmla="*/ 2573846 w 2605909"/>
              <a:gd name="connsiteY7" fmla="*/ 0 h 6035421"/>
              <a:gd name="connsiteX8" fmla="*/ 2444020 w 2605909"/>
              <a:gd name="connsiteY8" fmla="*/ 1162431 h 603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5909" h="6035421">
                <a:moveTo>
                  <a:pt x="2444020" y="1162431"/>
                </a:moveTo>
                <a:cubicBezTo>
                  <a:pt x="2280095" y="1604486"/>
                  <a:pt x="2014061" y="1995869"/>
                  <a:pt x="1756220" y="2387251"/>
                </a:cubicBezTo>
                <a:cubicBezTo>
                  <a:pt x="1497425" y="2779871"/>
                  <a:pt x="1247013" y="3180302"/>
                  <a:pt x="1101852" y="3630930"/>
                </a:cubicBezTo>
                <a:cubicBezTo>
                  <a:pt x="963263" y="4061841"/>
                  <a:pt x="910781" y="4518851"/>
                  <a:pt x="943166" y="4970145"/>
                </a:cubicBezTo>
                <a:cubicBezTo>
                  <a:pt x="969359" y="5335239"/>
                  <a:pt x="1052132" y="5696331"/>
                  <a:pt x="1189958" y="6035421"/>
                </a:cubicBezTo>
                <a:cubicBezTo>
                  <a:pt x="2651570" y="387096"/>
                  <a:pt x="2580132" y="795338"/>
                  <a:pt x="2444020" y="1162431"/>
                </a:cubicBezTo>
                <a:lnTo>
                  <a:pt x="0" y="6035421"/>
                </a:lnTo>
                <a:lnTo>
                  <a:pt x="0" y="0"/>
                </a:lnTo>
                <a:lnTo>
                  <a:pt x="2573846" y="0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28631D1-2090-6593-7B25-5419D99F133A}"/>
              </a:ext>
            </a:extLst>
          </p:cNvPr>
          <p:cNvGrpSpPr/>
          <p:nvPr userDrawn="1"/>
        </p:nvGrpSpPr>
        <p:grpSpPr>
          <a:xfrm>
            <a:off x="1343820" y="-22717"/>
            <a:ext cx="2324237" cy="7582392"/>
            <a:chOff x="1343820" y="-22717"/>
            <a:chExt cx="2315599" cy="7554213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470819D5-2245-D9B3-999A-26E1A3F69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38520" y="-22717"/>
              <a:ext cx="2120899" cy="7554213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C214F12-9E84-7340-6A98-ACF79E597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43820" y="-22717"/>
              <a:ext cx="2120899" cy="75542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05067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36596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79727" y="2154167"/>
            <a:ext cx="3794294" cy="1079940"/>
          </a:xfrm>
        </p:spPr>
        <p:txBody>
          <a:bodyPr/>
          <a:lstStyle>
            <a:lvl1pPr>
              <a:defRPr sz="263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79727" y="3357826"/>
            <a:ext cx="3794294" cy="1153377"/>
          </a:xfrm>
        </p:spPr>
        <p:txBody>
          <a:bodyPr/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moveTo>
                    <a:pt x="151" y="1810"/>
                  </a:moveTo>
                  <a:moveTo>
                    <a:pt x="150" y="1673"/>
                  </a:moveTo>
                  <a:moveTo>
                    <a:pt x="296" y="1764"/>
                  </a:moveTo>
                  <a:moveTo>
                    <a:pt x="1135" y="1860"/>
                  </a:moveTo>
                  <a:moveTo>
                    <a:pt x="593" y="1742"/>
                  </a:moveTo>
                  <a:moveTo>
                    <a:pt x="641" y="1573"/>
                  </a:moveTo>
                  <a:moveTo>
                    <a:pt x="871" y="1654"/>
                  </a:moveTo>
                  <a:moveTo>
                    <a:pt x="832" y="1815"/>
                  </a:moveTo>
                  <a:moveTo>
                    <a:pt x="2069" y="1633"/>
                  </a:moveTo>
                  <a:moveTo>
                    <a:pt x="2059" y="1684"/>
                  </a:moveTo>
                  <a:moveTo>
                    <a:pt x="1445" y="1654"/>
                  </a:moveTo>
                  <a:moveTo>
                    <a:pt x="1445" y="1706"/>
                  </a:moveTo>
                  <a:moveTo>
                    <a:pt x="1671" y="1693"/>
                  </a:moveTo>
                  <a:moveTo>
                    <a:pt x="1686" y="1786"/>
                  </a:moveTo>
                  <a:moveTo>
                    <a:pt x="2333" y="1796"/>
                  </a:moveTo>
                  <a:moveTo>
                    <a:pt x="2242" y="1726"/>
                  </a:moveTo>
                  <a:moveTo>
                    <a:pt x="2864" y="1796"/>
                  </a:moveTo>
                  <a:moveTo>
                    <a:pt x="2771" y="1726"/>
                  </a:moveTo>
                  <a:moveTo>
                    <a:pt x="2639" y="1783"/>
                  </a:moveTo>
                  <a:moveTo>
                    <a:pt x="2532" y="1855"/>
                  </a:moveTo>
                  <a:moveTo>
                    <a:pt x="3074" y="1700"/>
                  </a:moveTo>
                  <a:moveTo>
                    <a:pt x="593" y="1579"/>
                  </a:moveTo>
                  <a:moveTo>
                    <a:pt x="975" y="1639"/>
                  </a:moveTo>
                  <a:moveTo>
                    <a:pt x="1030" y="1579"/>
                  </a:moveTo>
                  <a:moveTo>
                    <a:pt x="2539" y="2042"/>
                  </a:moveTo>
                  <a:moveTo>
                    <a:pt x="2501" y="2203"/>
                  </a:moveTo>
                  <a:moveTo>
                    <a:pt x="672" y="2089"/>
                  </a:moveTo>
                  <a:moveTo>
                    <a:pt x="241" y="2027"/>
                  </a:moveTo>
                  <a:moveTo>
                    <a:pt x="406" y="2021"/>
                  </a:moveTo>
                  <a:moveTo>
                    <a:pt x="406" y="2202"/>
                  </a:moveTo>
                  <a:moveTo>
                    <a:pt x="2269" y="2089"/>
                  </a:moveTo>
                  <a:moveTo>
                    <a:pt x="1836" y="2027"/>
                  </a:moveTo>
                  <a:moveTo>
                    <a:pt x="2002" y="2021"/>
                  </a:moveTo>
                  <a:moveTo>
                    <a:pt x="2002" y="2202"/>
                  </a:moveTo>
                  <a:moveTo>
                    <a:pt x="837" y="2100"/>
                  </a:moveTo>
                  <a:moveTo>
                    <a:pt x="1097" y="2249"/>
                  </a:moveTo>
                  <a:moveTo>
                    <a:pt x="1408" y="2042"/>
                  </a:moveTo>
                  <a:moveTo>
                    <a:pt x="1408" y="2094"/>
                  </a:moveTo>
                  <a:moveTo>
                    <a:pt x="938" y="2027"/>
                  </a:moveTo>
                  <a:moveTo>
                    <a:pt x="993" y="1967"/>
                  </a:moveTo>
                  <a:moveTo>
                    <a:pt x="2309" y="1962"/>
                  </a:moveTo>
                  <a:moveTo>
                    <a:pt x="397" y="757"/>
                  </a:moveTo>
                  <a:moveTo>
                    <a:pt x="1690" y="0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74697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<Relationships xmlns="http://schemas.openxmlformats.org/package/2006/relationships"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8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DAD400B9-C497-4CB6-BBCC-A1D96E446387}" type="datetimeFigureOut">
              <a:rPr lang="en-GB" smtClean="0"/>
              <a:t>14/02/2025</a:t>
            </a:fld>
            <a:endParaRPr lang="en-GB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defRPr lang="en-IN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51F28C6B-BC89-47D0-8820-8956A72C0CCE}" type="slidenum">
              <a:rPr lang="en-GB" smtClean="0"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03D6A76-0837-4695-8F12-1C2D4292E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1296832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95" imgH="396" progId="TCLayout.ActiveDocument.1">
                  <p:embed/>
                </p:oleObj>
              </mc:Choice>
              <mc:Fallback>
                <p:oleObj name="think-cell Slide" r:id="rId64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03D6A76-0837-4695-8F12-1C2D4292E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4233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  <p:sldLayoutId id="2147483744" r:id="rId43"/>
    <p:sldLayoutId id="2147483745" r:id="rId44"/>
    <p:sldLayoutId id="2147483746" r:id="rId45"/>
    <p:sldLayoutId id="2147483747" r:id="rId46"/>
    <p:sldLayoutId id="2147483748" r:id="rId47"/>
    <p:sldLayoutId id="2147483749" r:id="rId48"/>
    <p:sldLayoutId id="2147483750" r:id="rId49"/>
    <p:sldLayoutId id="2147483751" r:id="rId50"/>
    <p:sldLayoutId id="2147483752" r:id="rId51"/>
    <p:sldLayoutId id="2147483753" r:id="rId52"/>
    <p:sldLayoutId id="2147483691" r:id="rId53"/>
    <p:sldLayoutId id="2147483692" r:id="rId54"/>
    <p:sldLayoutId id="2147483693" r:id="rId55"/>
    <p:sldLayoutId id="2147483694" r:id="rId56"/>
    <p:sldLayoutId id="2147483699" r:id="rId57"/>
    <p:sldLayoutId id="2147483700" r:id="rId58"/>
    <p:sldLayoutId id="2147483696" r:id="rId59"/>
    <p:sldLayoutId id="2147483697" r:id="rId60"/>
    <p:sldLayoutId id="2147483698" r:id="rId61"/>
  </p:sldLayoutIdLst>
  <p:txStyles>
    <p:titleStyle>
      <a:lvl1pPr algn="l" defTabSz="801472" rtl="0" eaLnBrk="1" latinLnBrk="0" hangingPunct="1">
        <a:lnSpc>
          <a:spcPct val="85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12574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5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25148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7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37722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50296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2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562870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1" y="1254346"/>
            <a:ext cx="9622632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US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14 February 2025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US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/>
          <a:lstStyle>
            <a:lvl1pPr marL="0" algn="l" defTabSz="801472" rtl="0" eaLnBrk="1" latinLnBrk="0" hangingPunct="1">
              <a:defRPr lang="en-GB" sz="701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 dirty="0"/>
            </a:p>
          </p:txBody>
        </p:sp>
      </p:grpSp>
    </p:spTree>
    <p:extLst>
      <p:ext uri="{BB962C8B-B14F-4D97-AF65-F5344CB8AC3E}">
        <p14:creationId xmlns:p14="http://schemas.microsoft.com/office/powerpoint/2010/main" val="33815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  <p:sldLayoutId id="2147483779" r:id="rId25"/>
    <p:sldLayoutId id="2147483780" r:id="rId26"/>
    <p:sldLayoutId id="2147483781" r:id="rId27"/>
    <p:sldLayoutId id="2147483782" r:id="rId28"/>
    <p:sldLayoutId id="2147483783" r:id="rId29"/>
    <p:sldLayoutId id="2147483784" r:id="rId30"/>
    <p:sldLayoutId id="2147483787" r:id="rId31"/>
    <p:sldLayoutId id="2147483786" r:id="rId32"/>
    <p:sldLayoutId id="2147483785" r:id="rId33"/>
  </p:sldLayoutIdLst>
  <p:hf hdr="0"/>
  <p:txStyles>
    <p:titleStyle>
      <a:lvl1pPr algn="l" defTabSz="801472" rtl="0" eaLnBrk="1" latinLnBrk="0" hangingPunct="1">
        <a:lnSpc>
          <a:spcPct val="85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12574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53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625148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7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937722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250296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2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562870" indent="-312574" algn="l" defTabSz="801472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5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1.xml"/><Relationship Id="rId4" Type="http://schemas.openxmlformats.org/officeDocument/2006/relationships/image" Target="../media/image2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68FCFA1-3C97-B600-BABB-82F77A24DC9C}"/>
              </a:ext>
            </a:extLst>
          </p:cNvPr>
          <p:cNvSpPr/>
          <p:nvPr/>
        </p:nvSpPr>
        <p:spPr>
          <a:xfrm>
            <a:off x="1194" y="-2"/>
            <a:ext cx="2627705" cy="75596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11B10C-6A3E-BA03-C095-E624C3476328}"/>
              </a:ext>
            </a:extLst>
          </p:cNvPr>
          <p:cNvSpPr txBox="1">
            <a:spLocks/>
          </p:cNvSpPr>
          <p:nvPr/>
        </p:nvSpPr>
        <p:spPr>
          <a:xfrm>
            <a:off x="3682722" y="6771226"/>
            <a:ext cx="6259181" cy="276999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GB" sz="1800" b="0" dirty="0">
                <a:solidFill>
                  <a:schemeClr val="bg1"/>
                </a:solidFill>
                <a:latin typeface="EYInterstate" panose="02000503020000020004" pitchFamily="2" charset="0"/>
              </a:rPr>
              <a:t>Don’t just predict the future. Build a better one. </a:t>
            </a:r>
          </a:p>
        </p:txBody>
      </p:sp>
      <p:sp>
        <p:nvSpPr>
          <p:cNvPr id="7" name="Freeform 17">
            <a:extLst>
              <a:ext uri="{FF2B5EF4-FFF2-40B4-BE49-F238E27FC236}">
                <a16:creationId xmlns:a16="http://schemas.microsoft.com/office/drawing/2014/main" id="{63DF2E54-6CBC-DD45-82D7-CCEDE8387CF1}"/>
              </a:ext>
            </a:extLst>
          </p:cNvPr>
          <p:cNvSpPr>
            <a:spLocks/>
          </p:cNvSpPr>
          <p:nvPr/>
        </p:nvSpPr>
        <p:spPr bwMode="auto">
          <a:xfrm>
            <a:off x="4804919" y="797243"/>
            <a:ext cx="4014786" cy="35530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is to certify that</a:t>
            </a:r>
            <a:endParaRPr kumimoji="0" lang="en-GB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8" name="Title 35">
            <a:extLst>
              <a:ext uri="{FF2B5EF4-FFF2-40B4-BE49-F238E27FC236}">
                <a16:creationId xmlns:a16="http://schemas.microsoft.com/office/drawing/2014/main" id="{A6CE1489-4E46-9358-573B-6A61FCA2DA3A}"/>
              </a:ext>
            </a:extLst>
          </p:cNvPr>
          <p:cNvSpPr txBox="1">
            <a:spLocks/>
          </p:cNvSpPr>
          <p:nvPr/>
        </p:nvSpPr>
        <p:spPr>
          <a:xfrm>
            <a:off x="3680805" y="1414319"/>
            <a:ext cx="6263014" cy="574258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80147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88328F0-9996-C813-DF8A-05E83123EFE8}"/>
              </a:ext>
            </a:extLst>
          </p:cNvPr>
          <p:cNvSpPr txBox="1">
            <a:spLocks/>
          </p:cNvSpPr>
          <p:nvPr/>
        </p:nvSpPr>
        <p:spPr>
          <a:xfrm>
            <a:off x="3680805" y="2386696"/>
            <a:ext cx="6263014" cy="928572"/>
          </a:xfrm>
          <a:prstGeom prst="rect">
            <a:avLst/>
          </a:prstGeom>
        </p:spPr>
        <p:txBody>
          <a:bodyPr vert="horz" lIns="80189" tIns="40095" rIns="80189" bIns="40095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07943">
              <a:lnSpc>
                <a:spcPct val="100000"/>
              </a:lnSpc>
              <a:spcBef>
                <a:spcPct val="0"/>
              </a:spcBef>
            </a:pP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successfully completed the </a:t>
            </a: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202</a:t>
            </a:r>
            <a:r>
              <a:rPr lang="pl-PL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5</a:t>
            </a:r>
            <a: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 </a:t>
            </a:r>
            <a:r>
              <a:rPr lang="pl-PL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EY Open Science AI &amp; Data Challenge</a:t>
            </a:r>
            <a:r>
              <a:rPr lang="en-GB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  <a:t>.</a:t>
            </a:r>
            <a:br>
              <a:rPr lang="en-IN" dirty="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+mj-cs"/>
              </a:rPr>
            </a:b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978308-D202-DBC5-98CF-8C8B570442F8}"/>
              </a:ext>
            </a:extLst>
          </p:cNvPr>
          <p:cNvSpPr txBox="1">
            <a:spLocks/>
          </p:cNvSpPr>
          <p:nvPr/>
        </p:nvSpPr>
        <p:spPr>
          <a:xfrm>
            <a:off x="3151029" y="5205508"/>
            <a:ext cx="330778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6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Catherine McCourt</a:t>
            </a:r>
            <a:endParaRPr lang="en-GB" sz="1600" b="1" dirty="0">
              <a:solidFill>
                <a:schemeClr val="bg1"/>
              </a:solidFill>
              <a:latin typeface="EYInterstate Light" panose="02000506000000020004" pitchFamily="2" charset="0"/>
            </a:endParaRPr>
          </a:p>
          <a:p>
            <a:pPr algn="ctr"/>
            <a:r>
              <a:rPr lang="en-GB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Y Global </a:t>
            </a:r>
            <a:r>
              <a:rPr lang="pl-PL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Technology Consulting </a:t>
            </a:r>
            <a:r>
              <a:rPr lang="en-GB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Leader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91AB0F5F-DF2A-0AD2-6293-4683FB75395D}"/>
              </a:ext>
            </a:extLst>
          </p:cNvPr>
          <p:cNvSpPr txBox="1">
            <a:spLocks/>
          </p:cNvSpPr>
          <p:nvPr/>
        </p:nvSpPr>
        <p:spPr>
          <a:xfrm>
            <a:off x="668074" y="6804892"/>
            <a:ext cx="1293944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/>
              <a:t>© 202</a:t>
            </a:r>
            <a:r>
              <a:rPr lang="pl-PL" sz="800" dirty="0"/>
              <a:t>5</a:t>
            </a:r>
            <a:r>
              <a:rPr lang="en-US" sz="800" dirty="0"/>
              <a:t> EYGM Limited. </a:t>
            </a:r>
            <a:r>
              <a:rPr lang="en-US" sz="800" dirty="0"/>
              <a:t>All Rights Reserved.</a:t>
            </a:r>
            <a:br>
              <a:rPr lang="en-US" sz="800" dirty="0"/>
            </a:br>
            <a:endParaRPr lang="en-GB" sz="8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7600B24-85FE-AC8A-9904-8B8062DDF449}"/>
              </a:ext>
            </a:extLst>
          </p:cNvPr>
          <p:cNvSpPr/>
          <p:nvPr/>
        </p:nvSpPr>
        <p:spPr>
          <a:xfrm>
            <a:off x="2628898" y="-1"/>
            <a:ext cx="177231" cy="7559676"/>
          </a:xfrm>
          <a:prstGeom prst="rect">
            <a:avLst/>
          </a:prstGeom>
          <a:solidFill>
            <a:srgbClr val="C4C4C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01312AD-9B56-1C60-7BD2-06FF58B97A38}"/>
              </a:ext>
            </a:extLst>
          </p:cNvPr>
          <p:cNvSpPr/>
          <p:nvPr/>
        </p:nvSpPr>
        <p:spPr>
          <a:xfrm>
            <a:off x="2801323" y="0"/>
            <a:ext cx="177231" cy="7559673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93213F-C442-1A07-2609-EF42D2616734}"/>
              </a:ext>
            </a:extLst>
          </p:cNvPr>
          <p:cNvSpPr txBox="1">
            <a:spLocks/>
          </p:cNvSpPr>
          <p:nvPr/>
        </p:nvSpPr>
        <p:spPr>
          <a:xfrm>
            <a:off x="6711646" y="5205508"/>
            <a:ext cx="330778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Brian Killough, PhD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Y Open Science AI &amp; Data Challenge Program Director</a:t>
            </a:r>
          </a:p>
        </p:txBody>
      </p:sp>
      <p:sp>
        <p:nvSpPr>
          <p:cNvPr id="1" name="Text 1"/>
          <p:cNvSpPr txBox="1"/>
          <p:nvPr/>
        </p:nvSpPr>
        <p:spPr>
          <a:xfrm>
            <a:off x="5524500" y="1651000"/>
            <a:ext cx="2540000" cy="381000"/>
          </a:xfrm>
          <a:prstGeom prst="rect">
            <a:avLst/>
          </a:prstGeom>
          <a:noFill/>
        </p:spPr>
        <p:txBody>
          <a:bodyPr rtlCol="0" lIns="0" tIns="0" rIns="0" bIns="0" wrap="none" anchor="ctr"/>
          <a:lstStyle/>
          <a:p>
            <a:pPr algn="ctr"/>
            <a:r>
              <a:rPr lang="en-US" smtClean="0" sz="3200" b="1">
                <a:solidFill>
                  <a:srgbClr val="2E2E38"/>
                </a:solidFill>
                <a:latin typeface="EYInterstate Light (Body)" pitchFamily="0" charset="0"/>
                <a:cs typeface="EYInterstate Light (Body)" pitchFamily="0" charset="0"/>
              </a:rPr>
              <a:t>Tan Nguyen Thai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BFDC6A-DFDA-EB1D-DF03-C5B1E160FE68}"/>
              </a:ext>
            </a:extLst>
          </p:cNvPr>
          <p:cNvCxnSpPr>
            <a:cxnSpLocks/>
          </p:cNvCxnSpPr>
          <p:nvPr/>
        </p:nvCxnSpPr>
        <p:spPr>
          <a:xfrm>
            <a:off x="3680805" y="2188602"/>
            <a:ext cx="6263014" cy="0"/>
          </a:xfrm>
          <a:prstGeom prst="line">
            <a:avLst/>
          </a:prstGeom>
          <a:ln w="12700">
            <a:solidFill>
              <a:srgbClr val="747480"/>
            </a:solidFill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8B2BA2E-06CA-3778-D428-0CC3E4F7F0D8}"/>
              </a:ext>
            </a:extLst>
          </p:cNvPr>
          <p:cNvCxnSpPr>
            <a:cxnSpLocks/>
          </p:cNvCxnSpPr>
          <p:nvPr/>
        </p:nvCxnSpPr>
        <p:spPr>
          <a:xfrm>
            <a:off x="3645083" y="5140789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6FACFB-26DE-0925-A2A8-9C2E4E863C04}"/>
              </a:ext>
            </a:extLst>
          </p:cNvPr>
          <p:cNvCxnSpPr>
            <a:cxnSpLocks/>
          </p:cNvCxnSpPr>
          <p:nvPr/>
        </p:nvCxnSpPr>
        <p:spPr>
          <a:xfrm>
            <a:off x="7146325" y="5140789"/>
            <a:ext cx="2433800" cy="0"/>
          </a:xfrm>
          <a:prstGeom prst="line">
            <a:avLst/>
          </a:prstGeom>
          <a:ln w="12700">
            <a:solidFill>
              <a:srgbClr val="7474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A black and white sign with white text&#10;&#10;Description automatically generated">
            <a:extLst>
              <a:ext uri="{FF2B5EF4-FFF2-40B4-BE49-F238E27FC236}">
                <a16:creationId xmlns:a16="http://schemas.microsoft.com/office/drawing/2014/main" id="{1710EDCC-34CE-B1A2-4FE4-324EE8D16A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21" y="416229"/>
            <a:ext cx="1063049" cy="1157463"/>
          </a:xfrm>
          <a:prstGeom prst="rect">
            <a:avLst/>
          </a:prstGeom>
        </p:spPr>
      </p:pic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607639F-3825-179F-7E24-46908538CB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15" y="4427290"/>
            <a:ext cx="2324100" cy="723900"/>
          </a:xfrm>
          <a:prstGeom prst="rect">
            <a:avLst/>
          </a:prstGeom>
        </p:spPr>
      </p:pic>
      <p:pic>
        <p:nvPicPr>
          <p:cNvPr id="14" name="Picture 13" descr="A black and white drawing of a circle&#10;&#10;Description automatically generated">
            <a:extLst>
              <a:ext uri="{FF2B5EF4-FFF2-40B4-BE49-F238E27FC236}">
                <a16:creationId xmlns:a16="http://schemas.microsoft.com/office/drawing/2014/main" id="{95C4C7D3-D659-F544-44D2-D286415FDF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4" y="4270105"/>
            <a:ext cx="1995478" cy="701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42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" id="{228E2B07-127F-4EFA-BB7B-042DF1A2D2B4}" vid="{129C5A64-0341-48F8-B982-E0BC87278477}"/>
    </a:ext>
  </a:extLst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30A2D8000E9D4B8D7CE6D2E613C6F5" ma:contentTypeVersion="13" ma:contentTypeDescription="Create a new document." ma:contentTypeScope="" ma:versionID="5938e4ef7e56987ce38f2f8822d6490a">
  <xsd:schema xmlns:xsd="http://www.w3.org/2001/XMLSchema" xmlns:xs="http://www.w3.org/2001/XMLSchema" xmlns:p="http://schemas.microsoft.com/office/2006/metadata/properties" xmlns:ns2="6ea77fff-9a19-4023-9969-55be1f39f3a5" xmlns:ns3="ae2d13b0-d45e-4147-aff9-04bb18fdf11b" targetNamespace="http://schemas.microsoft.com/office/2006/metadata/properties" ma:root="true" ma:fieldsID="3d0e8946dd47530e1b03402afc81f8c7" ns2:_="" ns3:_="">
    <xsd:import namespace="6ea77fff-9a19-4023-9969-55be1f39f3a5"/>
    <xsd:import namespace="ae2d13b0-d45e-4147-aff9-04bb18fdf1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a77fff-9a19-4023-9969-55be1f39f3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2d13b0-d45e-4147-aff9-04bb18fdf11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38fe6c9-e26f-4ea7-b7ae-699701361c00}" ma:internalName="TaxCatchAll" ma:showField="CatchAllData" ma:web="ae2d13b0-d45e-4147-aff9-04bb18fdf1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
                        This value indicates the number of saves or revisions. The application is responsible for updating this value after each revision.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  <xs:attribute name="EntityNamespace" type="xs:string"/>
    <xs:attribute name="EntityName" type="xs:string"/>
    <xs:attribute name="SystemInstanceName" type="xs:string"/>
    <xs:attribute name="AssociationName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e2d13b0-d45e-4147-aff9-04bb18fdf11b" xsi:nil="true"/>
    <lcf76f155ced4ddcb4097134ff3c332f xmlns="6ea77fff-9a19-4023-9969-55be1f39f3a5">
      <Terms xmlns="http://schemas.microsoft.com/office/infopath/2007/PartnerControls"/>
    </lcf76f155ced4ddcb4097134ff3c332f>
    <SharedWithUsers xmlns="ae2d13b0-d45e-4147-aff9-04bb18fdf11b">
      <UserInfo>
        <DisplayName/>
        <AccountId xsi:nil="true"/>
        <AccountType/>
      </UserInfo>
    </SharedWithUsers>
    <MediaLengthInSeconds xmlns="6ea77fff-9a19-4023-9969-55be1f39f3a5" xsi:nil="true"/>
  </documentManagement>
</p:properties>
</file>

<file path=customXml/itemProps1.xml><?xml version="1.0" encoding="utf-8"?>
<ds:datastoreItem xmlns:ds="http://schemas.openxmlformats.org/officeDocument/2006/customXml" ds:itemID="{F70E37C4-81A6-4FF6-889B-12FF1A95A3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1F701D-06E5-46A4-B451-CACF89BE20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a77fff-9a19-4023-9969-55be1f39f3a5"/>
    <ds:schemaRef ds:uri="ae2d13b0-d45e-4147-aff9-04bb18fdf1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1EF11E8-5335-49BB-9BB1-EBCDE4F8353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ea77fff-9a19-4023-9969-55be1f39f3a5"/>
    <ds:schemaRef ds:uri="ae2d13b0-d45e-4147-aff9-04bb18fdf11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Y</Template>
  <TotalTime>0</TotalTime>
  <Words>61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EYInterstate</vt:lpstr>
      <vt:lpstr>EYInterstate Light</vt:lpstr>
      <vt:lpstr>Georgia</vt:lpstr>
      <vt:lpstr>Segoe UI</vt:lpstr>
      <vt:lpstr>EY</vt:lpstr>
      <vt:lpstr>EY light backgroun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to certify that</dc:title>
  <dc:creator>Paula Smedley</dc:creator>
  <cp:lastModifiedBy>Anna Biel</cp:lastModifiedBy>
  <cp:revision>17</cp:revision>
  <dcterms:created xsi:type="dcterms:W3CDTF">2021-08-20T09:01:46Z</dcterms:created>
  <dcterms:modified xsi:type="dcterms:W3CDTF">2025-02-14T12:0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30A2D8000E9D4B8D7CE6D2E613C6F5</vt:lpwstr>
  </property>
  <property fmtid="{D5CDD505-2E9C-101B-9397-08002B2CF9AE}" pid="3" name="Order">
    <vt:r8>134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